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7" r:id="rId3"/>
    <p:sldMasterId id="2147483671" r:id="rId4"/>
  </p:sldMasterIdLst>
  <p:sldIdLst>
    <p:sldId id="256" r:id="rId5"/>
    <p:sldId id="546" r:id="rId6"/>
    <p:sldId id="545" r:id="rId7"/>
    <p:sldId id="538" r:id="rId8"/>
    <p:sldId id="539" r:id="rId9"/>
    <p:sldId id="540" r:id="rId10"/>
    <p:sldId id="541" r:id="rId11"/>
    <p:sldId id="542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24" autoAdjust="0"/>
    <p:restoredTop sz="94660"/>
  </p:normalViewPr>
  <p:slideViewPr>
    <p:cSldViewPr>
      <p:cViewPr varScale="1">
        <p:scale>
          <a:sx n="73" d="100"/>
          <a:sy n="73" d="100"/>
        </p:scale>
        <p:origin x="76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6" name="Image" r:id="rId3" imgW="12990476" imgH="9739683" progId="">
                  <p:embed/>
                </p:oleObj>
              </mc:Choice>
              <mc:Fallback>
                <p:oleObj name="Image" r:id="rId3" imgW="12990476" imgH="9739683" progId="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8051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7" name="Image" r:id="rId3" imgW="12990476" imgH="9739683" progId="Photoshop.Image.11">
                  <p:embed/>
                </p:oleObj>
              </mc:Choice>
              <mc:Fallback>
                <p:oleObj name="Image" r:id="rId3" imgW="12990476" imgH="9739683" progId="Photoshop.Image.11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2123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26/03/201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lumMod val="95000"/>
                  </a:prstClr>
                </a:solidFill>
              </a:rPr>
              <a:t>Ashok Leyland</a:t>
            </a:r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3461E-5807-447B-B34C-202A61E0D7E3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3794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152400"/>
            <a:ext cx="9753600" cy="7921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58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4" name="Image" r:id="rId3" imgW="12990476" imgH="9739683" progId="Photoshop.Image.11">
                  <p:embed/>
                </p:oleObj>
              </mc:Choice>
              <mc:Fallback>
                <p:oleObj name="Image" r:id="rId3" imgW="12990476" imgH="9739683" progId="Photoshop.Image.11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02942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/03/201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hok Leyla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03461E-5807-447B-B34C-202A61E0D7E3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76826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152400"/>
            <a:ext cx="9753600" cy="7921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5549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/>
        </p:nvGraphicFramePr>
        <p:xfrm>
          <a:off x="9753600" y="4602163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5" name="Image" r:id="rId3" imgW="12990476" imgH="9739683" progId="Photoshop.Image.11">
                  <p:embed/>
                </p:oleObj>
              </mc:Choice>
              <mc:Fallback>
                <p:oleObj name="Image" r:id="rId3" imgW="12990476" imgH="9739683" progId="Photoshop.Image.11">
                  <p:embed/>
                  <p:pic>
                    <p:nvPicPr>
                      <p:cNvPr id="3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4602163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9376"/>
            <a:ext cx="121920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sz="3600" smtClean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3156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/03/201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hok Leyla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03461E-5807-447B-B34C-202A61E0D7E3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43340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152400"/>
            <a:ext cx="9753600" cy="7921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3846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oleObject" Target="../embeddings/oleObject2.bin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2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3.x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4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4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0273460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6" name="Object 9"/>
          <p:cNvGraphicFramePr>
            <a:graphicFrameLocks noChangeAspect="1"/>
          </p:cNvGraphicFramePr>
          <p:nvPr/>
        </p:nvGraphicFramePr>
        <p:xfrm>
          <a:off x="9753600" y="5030788"/>
          <a:ext cx="2438400" cy="182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25" name="Image" r:id="rId7" imgW="12990476" imgH="9739683" progId="">
                  <p:embed/>
                </p:oleObj>
              </mc:Choice>
              <mc:Fallback>
                <p:oleObj name="Image" r:id="rId7" imgW="12990476" imgH="9739683" progId="">
                  <p:embed/>
                  <p:pic>
                    <p:nvPicPr>
                      <p:cNvPr id="1026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80000" t="73351"/>
                      <a:stretch>
                        <a:fillRect/>
                      </a:stretch>
                    </p:blipFill>
                    <p:spPr bwMode="auto">
                      <a:xfrm>
                        <a:off x="9753600" y="5030788"/>
                        <a:ext cx="2438400" cy="182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BBE0E3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800" y="304800"/>
            <a:ext cx="78232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20800" y="1371600"/>
            <a:ext cx="9042400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auto">
          <a:xfrm>
            <a:off x="0" y="1130300"/>
            <a:ext cx="12192000" cy="0"/>
          </a:xfrm>
          <a:prstGeom prst="line">
            <a:avLst/>
          </a:prstGeom>
          <a:noFill/>
          <a:ln w="7620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pic>
        <p:nvPicPr>
          <p:cNvPr id="1031" name="Picture 8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600" y="228600"/>
            <a:ext cx="2641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203200" y="6416676"/>
            <a:ext cx="508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6741851-F51D-4D64-8E52-9B894B4622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41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273761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309563"/>
            <a:ext cx="9753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447801"/>
            <a:ext cx="9753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00" y="6553200"/>
            <a:ext cx="121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26/03/201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537326"/>
            <a:ext cx="3860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>
                    <a:lumMod val="9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>
                    <a:lumMod val="95000"/>
                  </a:prstClr>
                </a:solidFill>
              </a:rPr>
              <a:t>Ashok Leyland</a:t>
            </a:r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  <p:grpSp>
        <p:nvGrpSpPr>
          <p:cNvPr id="1030" name="Group 7"/>
          <p:cNvGrpSpPr>
            <a:grpSpLocks/>
          </p:cNvGrpSpPr>
          <p:nvPr/>
        </p:nvGrpSpPr>
        <p:grpSpPr bwMode="auto">
          <a:xfrm>
            <a:off x="0" y="228600"/>
            <a:ext cx="12192000" cy="901700"/>
            <a:chOff x="0" y="228600"/>
            <a:chExt cx="9144000" cy="901700"/>
          </a:xfrm>
        </p:grpSpPr>
        <p:sp>
          <p:nvSpPr>
            <p:cNvPr id="1033" name="Line 11"/>
            <p:cNvSpPr>
              <a:spLocks noChangeShapeType="1"/>
            </p:cNvSpPr>
            <p:nvPr/>
          </p:nvSpPr>
          <p:spPr bwMode="auto">
            <a:xfrm>
              <a:off x="0" y="1130300"/>
              <a:ext cx="9144000" cy="0"/>
            </a:xfrm>
            <a:prstGeom prst="line">
              <a:avLst/>
            </a:prstGeom>
            <a:noFill/>
            <a:ln w="762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</a:endParaRPr>
            </a:p>
          </p:txBody>
        </p:sp>
        <p:pic>
          <p:nvPicPr>
            <p:cNvPr id="1034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28600"/>
              <a:ext cx="198120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5600" y="6537326"/>
            <a:ext cx="2844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7DEB7D41-1B34-40F2-B097-CD29A21F5FC6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360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309563"/>
            <a:ext cx="9753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447801"/>
            <a:ext cx="9753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00" y="6553200"/>
            <a:ext cx="121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/03/201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537326"/>
            <a:ext cx="3860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>
                    <a:lumMod val="95000"/>
                  </a:schemeClr>
                </a:solidFill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hok Leyla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30" name="Group 7"/>
          <p:cNvGrpSpPr>
            <a:grpSpLocks/>
          </p:cNvGrpSpPr>
          <p:nvPr/>
        </p:nvGrpSpPr>
        <p:grpSpPr bwMode="auto">
          <a:xfrm>
            <a:off x="0" y="228600"/>
            <a:ext cx="12192000" cy="901700"/>
            <a:chOff x="0" y="228600"/>
            <a:chExt cx="9144000" cy="901700"/>
          </a:xfrm>
        </p:grpSpPr>
        <p:sp>
          <p:nvSpPr>
            <p:cNvPr id="1033" name="Line 11"/>
            <p:cNvSpPr>
              <a:spLocks noChangeShapeType="1"/>
            </p:cNvSpPr>
            <p:nvPr/>
          </p:nvSpPr>
          <p:spPr bwMode="auto">
            <a:xfrm>
              <a:off x="0" y="1130300"/>
              <a:ext cx="9144000" cy="0"/>
            </a:xfrm>
            <a:prstGeom prst="line">
              <a:avLst/>
            </a:prstGeom>
            <a:noFill/>
            <a:ln w="762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34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28600"/>
              <a:ext cx="198120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5600" y="6537326"/>
            <a:ext cx="2844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B7D41-1B34-40F2-B097-CD29A21F5FC6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63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309563"/>
            <a:ext cx="9753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447801"/>
            <a:ext cx="9753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600" y="6553200"/>
            <a:ext cx="121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/03/2010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22400" y="6537326"/>
            <a:ext cx="3860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>
                    <a:lumMod val="95000"/>
                  </a:schemeClr>
                </a:solidFill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hok Leyla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30" name="Group 7"/>
          <p:cNvGrpSpPr>
            <a:grpSpLocks/>
          </p:cNvGrpSpPr>
          <p:nvPr/>
        </p:nvGrpSpPr>
        <p:grpSpPr bwMode="auto">
          <a:xfrm>
            <a:off x="0" y="228600"/>
            <a:ext cx="12192000" cy="901700"/>
            <a:chOff x="0" y="228600"/>
            <a:chExt cx="9144000" cy="901700"/>
          </a:xfrm>
        </p:grpSpPr>
        <p:sp>
          <p:nvSpPr>
            <p:cNvPr id="1033" name="Line 11"/>
            <p:cNvSpPr>
              <a:spLocks noChangeShapeType="1"/>
            </p:cNvSpPr>
            <p:nvPr/>
          </p:nvSpPr>
          <p:spPr bwMode="auto">
            <a:xfrm>
              <a:off x="0" y="1130300"/>
              <a:ext cx="9144000" cy="0"/>
            </a:xfrm>
            <a:prstGeom prst="line">
              <a:avLst/>
            </a:prstGeom>
            <a:noFill/>
            <a:ln w="762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34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4200" y="228600"/>
              <a:ext cx="198120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5600" y="6537326"/>
            <a:ext cx="28448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EB7D41-1B34-40F2-B097-CD29A21F5FC6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6559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362200" y="2895600"/>
            <a:ext cx="7772400" cy="1806714"/>
          </a:xfrm>
        </p:spPr>
        <p:txBody>
          <a:bodyPr/>
          <a:lstStyle/>
          <a:p>
            <a:r>
              <a:rPr lang="en-US" dirty="0"/>
              <a:t>Business Review </a:t>
            </a:r>
            <a:br>
              <a:rPr lang="en-US" dirty="0"/>
            </a:br>
            <a:r>
              <a:rPr lang="en-US" dirty="0"/>
              <a:t>AO – </a:t>
            </a:r>
            <a:r>
              <a:rPr lang="en-US" dirty="0" smtClean="0"/>
              <a:t>CHENNAI</a:t>
            </a:r>
            <a:br>
              <a:rPr lang="en-US" dirty="0" smtClean="0"/>
            </a:br>
            <a:r>
              <a:rPr lang="en-US" dirty="0" smtClean="0"/>
              <a:t>Dec’ 22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07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 bwMode="auto">
          <a:xfrm>
            <a:off x="228600" y="152400"/>
            <a:ext cx="63246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Month Sales – </a:t>
            </a:r>
            <a:r>
              <a:rPr lang="en-US" sz="2800" kern="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ftak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F65C16B-5BD8-4C6C-86AA-C324111EB9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3050493"/>
              </p:ext>
            </p:extLst>
          </p:nvPr>
        </p:nvGraphicFramePr>
        <p:xfrm>
          <a:off x="258763" y="1295400"/>
          <a:ext cx="11704637" cy="5410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9" name="Worksheet" r:id="rId3" imgW="11687297" imgH="5486400" progId="Excel.Sheet.12">
                  <p:embed/>
                </p:oleObj>
              </mc:Choice>
              <mc:Fallback>
                <p:oleObj name="Worksheet" r:id="rId3" imgW="11687297" imgH="54864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F65C16B-5BD8-4C6C-86AA-C324111EB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58763" y="1295400"/>
                        <a:ext cx="11704637" cy="5410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429403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 bwMode="auto">
          <a:xfrm>
            <a:off x="228600" y="152400"/>
            <a:ext cx="63246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nth Sales – Retail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F65C16B-5BD8-4C6C-86AA-C324111EB9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23139438"/>
              </p:ext>
            </p:extLst>
          </p:nvPr>
        </p:nvGraphicFramePr>
        <p:xfrm>
          <a:off x="258762" y="1295401"/>
          <a:ext cx="11704638" cy="5410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25" name="Worksheet" r:id="rId3" imgW="11687297" imgH="5486400" progId="Excel.Sheet.12">
                  <p:embed/>
                </p:oleObj>
              </mc:Choice>
              <mc:Fallback>
                <p:oleObj name="Worksheet" r:id="rId3" imgW="11687297" imgH="54864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F65C16B-5BD8-4C6C-86AA-C324111EB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58762" y="1295401"/>
                        <a:ext cx="11704638" cy="5410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258849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609600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 Goods</a:t>
            </a: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71647544"/>
              </p:ext>
            </p:extLst>
          </p:nvPr>
        </p:nvGraphicFramePr>
        <p:xfrm>
          <a:off x="381000" y="1447800"/>
          <a:ext cx="11506200" cy="5181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05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1000" y="1447800"/>
                        <a:ext cx="11506200" cy="5181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35780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Goods- 10T</a:t>
            </a: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7796666"/>
              </p:ext>
            </p:extLst>
          </p:nvPr>
        </p:nvGraphicFramePr>
        <p:xfrm>
          <a:off x="340568" y="1371600"/>
          <a:ext cx="11546632" cy="525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27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40568" y="1371600"/>
                        <a:ext cx="11546632" cy="5257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98749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5240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Goods- 12T</a:t>
            </a: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78711336"/>
              </p:ext>
            </p:extLst>
          </p:nvPr>
        </p:nvGraphicFramePr>
        <p:xfrm>
          <a:off x="340568" y="1371600"/>
          <a:ext cx="11622832" cy="525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52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7" name="Object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40568" y="1371600"/>
                        <a:ext cx="11622832" cy="5257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999208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 txBox="1">
            <a:spLocks noChangeArrowheads="1"/>
          </p:cNvSpPr>
          <p:nvPr/>
        </p:nvSpPr>
        <p:spPr bwMode="auto">
          <a:xfrm>
            <a:off x="340568" y="188640"/>
            <a:ext cx="7543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sz="28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V Goods- 15T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91279885"/>
              </p:ext>
            </p:extLst>
          </p:nvPr>
        </p:nvGraphicFramePr>
        <p:xfrm>
          <a:off x="457201" y="1447800"/>
          <a:ext cx="11353800" cy="5105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77" name="Worksheet" r:id="rId3" imgW="6839065" imgH="3028831" progId="Excel.Sheet.12">
                  <p:embed/>
                </p:oleObj>
              </mc:Choice>
              <mc:Fallback>
                <p:oleObj name="Worksheet" r:id="rId3" imgW="6839065" imgH="3028831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57201" y="1447800"/>
                        <a:ext cx="11353800" cy="5105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81318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cket Analysis – ICV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654007"/>
              </p:ext>
            </p:extLst>
          </p:nvPr>
        </p:nvGraphicFramePr>
        <p:xfrm>
          <a:off x="838197" y="1371609"/>
          <a:ext cx="10668007" cy="5163305"/>
        </p:xfrm>
        <a:graphic>
          <a:graphicData uri="http://schemas.openxmlformats.org/drawingml/2006/table">
            <a:tbl>
              <a:tblPr/>
              <a:tblGrid>
                <a:gridCol w="620121">
                  <a:extLst>
                    <a:ext uri="{9D8B030D-6E8A-4147-A177-3AD203B41FA5}">
                      <a16:colId xmlns:a16="http://schemas.microsoft.com/office/drawing/2014/main" val="388483610"/>
                    </a:ext>
                  </a:extLst>
                </a:gridCol>
                <a:gridCol w="1395268">
                  <a:extLst>
                    <a:ext uri="{9D8B030D-6E8A-4147-A177-3AD203B41FA5}">
                      <a16:colId xmlns:a16="http://schemas.microsoft.com/office/drawing/2014/main" val="4703365"/>
                    </a:ext>
                  </a:extLst>
                </a:gridCol>
                <a:gridCol w="620121">
                  <a:extLst>
                    <a:ext uri="{9D8B030D-6E8A-4147-A177-3AD203B41FA5}">
                      <a16:colId xmlns:a16="http://schemas.microsoft.com/office/drawing/2014/main" val="2614727730"/>
                    </a:ext>
                  </a:extLst>
                </a:gridCol>
                <a:gridCol w="620121">
                  <a:extLst>
                    <a:ext uri="{9D8B030D-6E8A-4147-A177-3AD203B41FA5}">
                      <a16:colId xmlns:a16="http://schemas.microsoft.com/office/drawing/2014/main" val="215226076"/>
                    </a:ext>
                  </a:extLst>
                </a:gridCol>
                <a:gridCol w="620121">
                  <a:extLst>
                    <a:ext uri="{9D8B030D-6E8A-4147-A177-3AD203B41FA5}">
                      <a16:colId xmlns:a16="http://schemas.microsoft.com/office/drawing/2014/main" val="1212884072"/>
                    </a:ext>
                  </a:extLst>
                </a:gridCol>
                <a:gridCol w="939869">
                  <a:extLst>
                    <a:ext uri="{9D8B030D-6E8A-4147-A177-3AD203B41FA5}">
                      <a16:colId xmlns:a16="http://schemas.microsoft.com/office/drawing/2014/main" val="2931460383"/>
                    </a:ext>
                  </a:extLst>
                </a:gridCol>
                <a:gridCol w="620121">
                  <a:extLst>
                    <a:ext uri="{9D8B030D-6E8A-4147-A177-3AD203B41FA5}">
                      <a16:colId xmlns:a16="http://schemas.microsoft.com/office/drawing/2014/main" val="2816373377"/>
                    </a:ext>
                  </a:extLst>
                </a:gridCol>
                <a:gridCol w="697634">
                  <a:extLst>
                    <a:ext uri="{9D8B030D-6E8A-4147-A177-3AD203B41FA5}">
                      <a16:colId xmlns:a16="http://schemas.microsoft.com/office/drawing/2014/main" val="266683555"/>
                    </a:ext>
                  </a:extLst>
                </a:gridCol>
                <a:gridCol w="620121">
                  <a:extLst>
                    <a:ext uri="{9D8B030D-6E8A-4147-A177-3AD203B41FA5}">
                      <a16:colId xmlns:a16="http://schemas.microsoft.com/office/drawing/2014/main" val="4269347838"/>
                    </a:ext>
                  </a:extLst>
                </a:gridCol>
                <a:gridCol w="620121">
                  <a:extLst>
                    <a:ext uri="{9D8B030D-6E8A-4147-A177-3AD203B41FA5}">
                      <a16:colId xmlns:a16="http://schemas.microsoft.com/office/drawing/2014/main" val="2759681556"/>
                    </a:ext>
                  </a:extLst>
                </a:gridCol>
                <a:gridCol w="697634">
                  <a:extLst>
                    <a:ext uri="{9D8B030D-6E8A-4147-A177-3AD203B41FA5}">
                      <a16:colId xmlns:a16="http://schemas.microsoft.com/office/drawing/2014/main" val="3175879761"/>
                    </a:ext>
                  </a:extLst>
                </a:gridCol>
                <a:gridCol w="620121">
                  <a:extLst>
                    <a:ext uri="{9D8B030D-6E8A-4147-A177-3AD203B41FA5}">
                      <a16:colId xmlns:a16="http://schemas.microsoft.com/office/drawing/2014/main" val="2855901834"/>
                    </a:ext>
                  </a:extLst>
                </a:gridCol>
                <a:gridCol w="736392">
                  <a:extLst>
                    <a:ext uri="{9D8B030D-6E8A-4147-A177-3AD203B41FA5}">
                      <a16:colId xmlns:a16="http://schemas.microsoft.com/office/drawing/2014/main" val="1158325290"/>
                    </a:ext>
                  </a:extLst>
                </a:gridCol>
                <a:gridCol w="620121">
                  <a:extLst>
                    <a:ext uri="{9D8B030D-6E8A-4147-A177-3AD203B41FA5}">
                      <a16:colId xmlns:a16="http://schemas.microsoft.com/office/drawing/2014/main" val="2040382729"/>
                    </a:ext>
                  </a:extLst>
                </a:gridCol>
                <a:gridCol w="620121">
                  <a:extLst>
                    <a:ext uri="{9D8B030D-6E8A-4147-A177-3AD203B41FA5}">
                      <a16:colId xmlns:a16="http://schemas.microsoft.com/office/drawing/2014/main" val="3910198161"/>
                    </a:ext>
                  </a:extLst>
                </a:gridCol>
              </a:tblGrid>
              <a:tr h="173148">
                <a:tc gridSpan="15"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' 22</a:t>
                      </a:r>
                    </a:p>
                  </a:txBody>
                  <a:tcPr marL="7309" marR="7309" marT="73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992098"/>
                  </a:ext>
                </a:extLst>
              </a:tr>
              <a:tr h="173148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L NO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NCH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CKET STATUS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TIV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M MS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C outlet wis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051095"/>
                  </a:ext>
                </a:extLst>
              </a:tr>
              <a:tr h="17314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st but not found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st and Found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layed Known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ught and Lost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5 [AL]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524856"/>
                  </a:ext>
                </a:extLst>
              </a:tr>
              <a:tr h="31001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 LOY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rvi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DUCT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nan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4 TOT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5798534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PME 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845230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MADHAVARAM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9033407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PADAPPAI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11896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VELLOR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269048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VILLUPURAM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945360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PONDY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349967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TV MALAI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4439482"/>
                  </a:ext>
                </a:extLst>
              </a:tr>
              <a:tr h="17314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452059"/>
                  </a:ext>
                </a:extLst>
              </a:tr>
              <a:tr h="17314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CENTAG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559261"/>
                  </a:ext>
                </a:extLst>
              </a:tr>
              <a:tr h="164902"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0260066"/>
                  </a:ext>
                </a:extLst>
              </a:tr>
              <a:tr h="164902"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N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309" marR="7309" marT="730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0087684"/>
                  </a:ext>
                </a:extLst>
              </a:tr>
              <a:tr h="173148">
                <a:tc gridSpan="15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m Dec' 2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992333"/>
                  </a:ext>
                </a:extLst>
              </a:tr>
              <a:tr h="173148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L NO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NCH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CKET STATUS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TIV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M MS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C outlet wis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8500472"/>
                  </a:ext>
                </a:extLst>
              </a:tr>
              <a:tr h="17314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st but not found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st and Found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layed Known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ught and Lost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5 [AL]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496573"/>
                  </a:ext>
                </a:extLst>
              </a:tr>
              <a:tr h="31001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 LOY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rvi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DUCT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nanc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4 TOT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7834456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PME 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426191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MADHAVARAM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7399613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PADAPPAI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3772417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VELLOR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1258130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VILLUPURAM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5102407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PONDY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524553"/>
                  </a:ext>
                </a:extLst>
              </a:tr>
              <a:tr h="1731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VS TV MALAI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4168483"/>
                  </a:ext>
                </a:extLst>
              </a:tr>
              <a:tr h="17314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7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9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8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32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%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370310"/>
                  </a:ext>
                </a:extLst>
              </a:tr>
              <a:tr h="17314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CENTAGE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AAAA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%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309" marR="7309" marT="730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3994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9356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5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5" id="{0FD1E945-0C04-4D29-98E2-341C4D14E449}" vid="{98A74680-365D-4711-A711-D2ADD621A207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5</Template>
  <TotalTime>22494</TotalTime>
  <Words>413</Words>
  <Application>Microsoft Office PowerPoint</Application>
  <PresentationFormat>Widescreen</PresentationFormat>
  <Paragraphs>30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Times New Roman</vt:lpstr>
      <vt:lpstr>Theme5</vt:lpstr>
      <vt:lpstr>Custom Design</vt:lpstr>
      <vt:lpstr>1_Custom Design</vt:lpstr>
      <vt:lpstr>2_Custom Design</vt:lpstr>
      <vt:lpstr>think-cell Slide</vt:lpstr>
      <vt:lpstr>Image</vt:lpstr>
      <vt:lpstr>Microsoft Excel Worksheet</vt:lpstr>
      <vt:lpstr>Worksheet</vt:lpstr>
      <vt:lpstr>Business Review  AO – CHENNAI Dec’ 22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cket Analysis – ICV</vt:lpstr>
    </vt:vector>
  </TitlesOfParts>
  <Company>Ashokleyland Lt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Mohan Raj (Manager Sales-AO Chennai)</cp:lastModifiedBy>
  <cp:revision>431</cp:revision>
  <dcterms:created xsi:type="dcterms:W3CDTF">2018-06-07T10:25:13Z</dcterms:created>
  <dcterms:modified xsi:type="dcterms:W3CDTF">2023-01-07T06:59:00Z</dcterms:modified>
</cp:coreProperties>
</file>